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72" r:id="rId7"/>
    <p:sldId id="1371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4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4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0080"/>
              </p:ext>
            </p:extLst>
          </p:nvPr>
        </p:nvGraphicFramePr>
        <p:xfrm>
          <a:off x="372867" y="838718"/>
          <a:ext cx="11435203" cy="481620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et C19 pacientů na standardních odděleních posledních 10 dnů osciluje nebo mírně klesá, narůstá počet pacientů na C19 JIP, včetně potřeby UPV. 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; akutní problémy jednotlivých ZZ řešeny ve spolupráci s dispečinkem ZZS MSK a/anebo mezi nemocničními transporty v rámci kraje, při stávajících trendech a predikcích by situace měla být nadále řešitelná v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45393" y="1919042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4.12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6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112865"/>
              </p:ext>
            </p:extLst>
          </p:nvPr>
        </p:nvGraphicFramePr>
        <p:xfrm>
          <a:off x="8515994" y="3783604"/>
          <a:ext cx="3382108" cy="1471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5113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27699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4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4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4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4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4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4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4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5 %</a:t>
                      </a:r>
                      <a:endParaRPr lang="cs-CZ" sz="14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4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4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graphicFrame>
        <p:nvGraphicFramePr>
          <p:cNvPr id="15" name="Tabulk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339806"/>
              </p:ext>
            </p:extLst>
          </p:nvPr>
        </p:nvGraphicFramePr>
        <p:xfrm>
          <a:off x="332817" y="953050"/>
          <a:ext cx="8529830" cy="5456958"/>
        </p:xfrm>
        <a:graphic>
          <a:graphicData uri="http://schemas.openxmlformats.org/drawingml/2006/table">
            <a:tbl>
              <a:tblPr/>
              <a:tblGrid>
                <a:gridCol w="1810665">
                  <a:extLst>
                    <a:ext uri="{9D8B030D-6E8A-4147-A177-3AD203B41FA5}">
                      <a16:colId xmlns:a16="http://schemas.microsoft.com/office/drawing/2014/main" val="2647664024"/>
                    </a:ext>
                  </a:extLst>
                </a:gridCol>
                <a:gridCol w="1108570">
                  <a:extLst>
                    <a:ext uri="{9D8B030D-6E8A-4147-A177-3AD203B41FA5}">
                      <a16:colId xmlns:a16="http://schemas.microsoft.com/office/drawing/2014/main" val="1860005146"/>
                    </a:ext>
                  </a:extLst>
                </a:gridCol>
                <a:gridCol w="80233">
                  <a:extLst>
                    <a:ext uri="{9D8B030D-6E8A-4147-A177-3AD203B41FA5}">
                      <a16:colId xmlns:a16="http://schemas.microsoft.com/office/drawing/2014/main" val="604943872"/>
                    </a:ext>
                  </a:extLst>
                </a:gridCol>
                <a:gridCol w="945195">
                  <a:extLst>
                    <a:ext uri="{9D8B030D-6E8A-4147-A177-3AD203B41FA5}">
                      <a16:colId xmlns:a16="http://schemas.microsoft.com/office/drawing/2014/main" val="571092274"/>
                    </a:ext>
                  </a:extLst>
                </a:gridCol>
                <a:gridCol w="83505">
                  <a:extLst>
                    <a:ext uri="{9D8B030D-6E8A-4147-A177-3AD203B41FA5}">
                      <a16:colId xmlns:a16="http://schemas.microsoft.com/office/drawing/2014/main" val="3182010299"/>
                    </a:ext>
                  </a:extLst>
                </a:gridCol>
                <a:gridCol w="938843">
                  <a:extLst>
                    <a:ext uri="{9D8B030D-6E8A-4147-A177-3AD203B41FA5}">
                      <a16:colId xmlns:a16="http://schemas.microsoft.com/office/drawing/2014/main" val="2708358469"/>
                    </a:ext>
                  </a:extLst>
                </a:gridCol>
                <a:gridCol w="1059299">
                  <a:extLst>
                    <a:ext uri="{9D8B030D-6E8A-4147-A177-3AD203B41FA5}">
                      <a16:colId xmlns:a16="http://schemas.microsoft.com/office/drawing/2014/main" val="3912396466"/>
                    </a:ext>
                  </a:extLst>
                </a:gridCol>
                <a:gridCol w="1062379">
                  <a:extLst>
                    <a:ext uri="{9D8B030D-6E8A-4147-A177-3AD203B41FA5}">
                      <a16:colId xmlns:a16="http://schemas.microsoft.com/office/drawing/2014/main" val="495235102"/>
                    </a:ext>
                  </a:extLst>
                </a:gridCol>
                <a:gridCol w="1441141">
                  <a:extLst>
                    <a:ext uri="{9D8B030D-6E8A-4147-A177-3AD203B41FA5}">
                      <a16:colId xmlns:a16="http://schemas.microsoft.com/office/drawing/2014/main" val="3106962925"/>
                    </a:ext>
                  </a:extLst>
                </a:gridCol>
              </a:tblGrid>
              <a:tr h="192914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144823"/>
                  </a:ext>
                </a:extLst>
              </a:tr>
              <a:tr h="143719">
                <a:tc gridSpan="8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4.12. 2021, 11:30 h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3453426"/>
                  </a:ext>
                </a:extLst>
              </a:tr>
              <a:tr h="15024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983320"/>
                  </a:ext>
                </a:extLst>
              </a:tr>
              <a:tr h="1929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393072"/>
                  </a:ext>
                </a:extLst>
              </a:tr>
              <a:tr h="75361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3543695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5359963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378016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746093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1432178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7795387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2167901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6390760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5187382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680165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784271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64584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771461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6465283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015361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3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373" marR="6373" marT="637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227186"/>
                  </a:ext>
                </a:extLst>
              </a:tr>
              <a:tr h="192914">
                <a:tc gridSpan="8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821349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159201"/>
                  </a:ext>
                </a:extLst>
              </a:tr>
              <a:tr h="19291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893463"/>
                  </a:ext>
                </a:extLst>
              </a:tr>
              <a:tr h="192914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73" marR="6373" marT="637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93585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229789"/>
              </p:ext>
            </p:extLst>
          </p:nvPr>
        </p:nvGraphicFramePr>
        <p:xfrm>
          <a:off x="332818" y="1016731"/>
          <a:ext cx="8679296" cy="5322322"/>
        </p:xfrm>
        <a:graphic>
          <a:graphicData uri="http://schemas.openxmlformats.org/drawingml/2006/table">
            <a:tbl>
              <a:tblPr/>
              <a:tblGrid>
                <a:gridCol w="1888759">
                  <a:extLst>
                    <a:ext uri="{9D8B030D-6E8A-4147-A177-3AD203B41FA5}">
                      <a16:colId xmlns:a16="http://schemas.microsoft.com/office/drawing/2014/main" val="2487333758"/>
                    </a:ext>
                  </a:extLst>
                </a:gridCol>
                <a:gridCol w="1156383">
                  <a:extLst>
                    <a:ext uri="{9D8B030D-6E8A-4147-A177-3AD203B41FA5}">
                      <a16:colId xmlns:a16="http://schemas.microsoft.com/office/drawing/2014/main" val="3170567747"/>
                    </a:ext>
                  </a:extLst>
                </a:gridCol>
                <a:gridCol w="1069654">
                  <a:extLst>
                    <a:ext uri="{9D8B030D-6E8A-4147-A177-3AD203B41FA5}">
                      <a16:colId xmlns:a16="http://schemas.microsoft.com/office/drawing/2014/main" val="926843242"/>
                    </a:ext>
                  </a:extLst>
                </a:gridCol>
                <a:gridCol w="1066441">
                  <a:extLst>
                    <a:ext uri="{9D8B030D-6E8A-4147-A177-3AD203B41FA5}">
                      <a16:colId xmlns:a16="http://schemas.microsoft.com/office/drawing/2014/main" val="237011968"/>
                    </a:ext>
                  </a:extLst>
                </a:gridCol>
                <a:gridCol w="1104988">
                  <a:extLst>
                    <a:ext uri="{9D8B030D-6E8A-4147-A177-3AD203B41FA5}">
                      <a16:colId xmlns:a16="http://schemas.microsoft.com/office/drawing/2014/main" val="3886971450"/>
                    </a:ext>
                  </a:extLst>
                </a:gridCol>
                <a:gridCol w="1108200">
                  <a:extLst>
                    <a:ext uri="{9D8B030D-6E8A-4147-A177-3AD203B41FA5}">
                      <a16:colId xmlns:a16="http://schemas.microsoft.com/office/drawing/2014/main" val="3198594043"/>
                    </a:ext>
                  </a:extLst>
                </a:gridCol>
                <a:gridCol w="1284871">
                  <a:extLst>
                    <a:ext uri="{9D8B030D-6E8A-4147-A177-3AD203B41FA5}">
                      <a16:colId xmlns:a16="http://schemas.microsoft.com/office/drawing/2014/main" val="1098431562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963298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4.12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7727474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9746985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4996200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49722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93742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0374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293061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24621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312572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661120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05351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634390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894977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1107940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3582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35340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404153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737312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577373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049688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877187"/>
                  </a:ext>
                </a:extLst>
              </a:tr>
              <a:tr h="39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988949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886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4.12.2021 00:23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4</a:t>
            </a:r>
            <a:r>
              <a:rPr lang="cs-CZ" sz="2000" b="1" dirty="0"/>
              <a:t> </a:t>
            </a:r>
            <a:r>
              <a:rPr lang="cs-CZ" sz="2000" b="1" dirty="0" smtClean="0"/>
              <a:t>947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555401"/>
              </p:ext>
            </p:extLst>
          </p:nvPr>
        </p:nvGraphicFramePr>
        <p:xfrm>
          <a:off x="332815" y="1011833"/>
          <a:ext cx="8406740" cy="5309160"/>
        </p:xfrm>
        <a:graphic>
          <a:graphicData uri="http://schemas.openxmlformats.org/drawingml/2006/table">
            <a:tbl>
              <a:tblPr/>
              <a:tblGrid>
                <a:gridCol w="1708661">
                  <a:extLst>
                    <a:ext uri="{9D8B030D-6E8A-4147-A177-3AD203B41FA5}">
                      <a16:colId xmlns:a16="http://schemas.microsoft.com/office/drawing/2014/main" val="4135963990"/>
                    </a:ext>
                  </a:extLst>
                </a:gridCol>
                <a:gridCol w="1046119">
                  <a:extLst>
                    <a:ext uri="{9D8B030D-6E8A-4147-A177-3AD203B41FA5}">
                      <a16:colId xmlns:a16="http://schemas.microsoft.com/office/drawing/2014/main" val="3990148808"/>
                    </a:ext>
                  </a:extLst>
                </a:gridCol>
                <a:gridCol w="967662">
                  <a:extLst>
                    <a:ext uri="{9D8B030D-6E8A-4147-A177-3AD203B41FA5}">
                      <a16:colId xmlns:a16="http://schemas.microsoft.com/office/drawing/2014/main" val="592172282"/>
                    </a:ext>
                  </a:extLst>
                </a:gridCol>
                <a:gridCol w="964755">
                  <a:extLst>
                    <a:ext uri="{9D8B030D-6E8A-4147-A177-3AD203B41FA5}">
                      <a16:colId xmlns:a16="http://schemas.microsoft.com/office/drawing/2014/main" val="4144075889"/>
                    </a:ext>
                  </a:extLst>
                </a:gridCol>
                <a:gridCol w="999625">
                  <a:extLst>
                    <a:ext uri="{9D8B030D-6E8A-4147-A177-3AD203B41FA5}">
                      <a16:colId xmlns:a16="http://schemas.microsoft.com/office/drawing/2014/main" val="1659436902"/>
                    </a:ext>
                  </a:extLst>
                </a:gridCol>
                <a:gridCol w="1359959">
                  <a:extLst>
                    <a:ext uri="{9D8B030D-6E8A-4147-A177-3AD203B41FA5}">
                      <a16:colId xmlns:a16="http://schemas.microsoft.com/office/drawing/2014/main" val="4031144777"/>
                    </a:ext>
                  </a:extLst>
                </a:gridCol>
                <a:gridCol w="1359959">
                  <a:extLst>
                    <a:ext uri="{9D8B030D-6E8A-4147-A177-3AD203B41FA5}">
                      <a16:colId xmlns:a16="http://schemas.microsoft.com/office/drawing/2014/main" val="919344284"/>
                    </a:ext>
                  </a:extLst>
                </a:gridCol>
              </a:tblGrid>
              <a:tr h="18437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444872"/>
                  </a:ext>
                </a:extLst>
              </a:tr>
              <a:tr h="184379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4.12. 2021, 11:30 h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4320131"/>
                  </a:ext>
                </a:extLst>
              </a:tr>
              <a:tr h="17120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7146284"/>
                  </a:ext>
                </a:extLst>
              </a:tr>
              <a:tr h="184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2047178"/>
                  </a:ext>
                </a:extLst>
              </a:tr>
              <a:tr h="50045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851428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37810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310234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955469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6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975723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5533464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189784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006853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414930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496164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516815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1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6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452782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867706"/>
                  </a:ext>
                </a:extLst>
              </a:tr>
              <a:tr h="1646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63715"/>
                  </a:ext>
                </a:extLst>
              </a:tr>
              <a:tr h="1712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462544"/>
                  </a:ext>
                </a:extLst>
              </a:tr>
              <a:tr h="1777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91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1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6585" marR="6585" marT="65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988649"/>
                  </a:ext>
                </a:extLst>
              </a:tr>
              <a:tr h="16462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0686618"/>
                  </a:ext>
                </a:extLst>
              </a:tr>
              <a:tr h="1540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448973"/>
                  </a:ext>
                </a:extLst>
              </a:tr>
              <a:tr h="15408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330025"/>
                  </a:ext>
                </a:extLst>
              </a:tr>
              <a:tr h="16462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74739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12.2021 11:4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627011"/>
              </p:ext>
            </p:extLst>
          </p:nvPr>
        </p:nvGraphicFramePr>
        <p:xfrm>
          <a:off x="1440866" y="2023571"/>
          <a:ext cx="5883126" cy="3122290"/>
        </p:xfrm>
        <a:graphic>
          <a:graphicData uri="http://schemas.openxmlformats.org/drawingml/2006/table">
            <a:tbl>
              <a:tblPr/>
              <a:tblGrid>
                <a:gridCol w="3671018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10806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01302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2.2021 13:2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 14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 14:4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av hematologie a krevní transfuz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 5:2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Šumperk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 6:5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 16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2.2021 18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.z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12.2021 11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975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612268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4.12.2021 0:23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 908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158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3,4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61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1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54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8,1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 23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7,8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94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34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,7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54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1,5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108529"/>
              </p:ext>
            </p:extLst>
          </p:nvPr>
        </p:nvGraphicFramePr>
        <p:xfrm>
          <a:off x="332646" y="832094"/>
          <a:ext cx="11405086" cy="5026750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plnící se kapacity J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na úrovni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tea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, maximalizovány kapacity standardní i intenzivní péče, menší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lší navýšení kapacit by ale již bylo velmi problematické. Krizovou situaci nelze nadále vyloučit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344950"/>
              </p:ext>
            </p:extLst>
          </p:nvPr>
        </p:nvGraphicFramePr>
        <p:xfrm>
          <a:off x="279292" y="841021"/>
          <a:ext cx="11587543" cy="5115316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gnace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394615"/>
              </p:ext>
            </p:extLst>
          </p:nvPr>
        </p:nvGraphicFramePr>
        <p:xfrm>
          <a:off x="350228" y="708347"/>
          <a:ext cx="11519385" cy="5863341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029</TotalTime>
  <Words>1938</Words>
  <Application>Microsoft Office PowerPoint</Application>
  <PresentationFormat>Širokoúhlá obrazovka</PresentationFormat>
  <Paragraphs>558</Paragraphs>
  <Slides>10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17</cp:revision>
  <cp:lastPrinted>2020-10-20T04:21:56Z</cp:lastPrinted>
  <dcterms:created xsi:type="dcterms:W3CDTF">2020-07-15T10:33:32Z</dcterms:created>
  <dcterms:modified xsi:type="dcterms:W3CDTF">2021-12-14T10:56:02Z</dcterms:modified>
</cp:coreProperties>
</file>